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400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A5E66C-DAC8-9A63-B01B-C4E3249FA4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55">
            <a:extLst>
              <a:ext uri="{FF2B5EF4-FFF2-40B4-BE49-F238E27FC236}">
                <a16:creationId xmlns:a16="http://schemas.microsoft.com/office/drawing/2014/main" id="{5D1FD21D-F4D5-7CEB-D00B-65E61497E6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am Slid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E91D59-CCF7-091E-92C9-E71DDDF6C213}"/>
              </a:ext>
            </a:extLst>
          </p:cNvPr>
          <p:cNvSpPr/>
          <p:nvPr/>
        </p:nvSpPr>
        <p:spPr>
          <a:xfrm>
            <a:off x="669974" y="1892300"/>
            <a:ext cx="16859250" cy="6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Founders</a:t>
            </a:r>
            <a:endParaRPr lang="en-US" sz="2000" b="1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59591A6-ED1D-CD86-F08E-F99ACB6D096D}"/>
              </a:ext>
            </a:extLst>
          </p:cNvPr>
          <p:cNvSpPr/>
          <p:nvPr/>
        </p:nvSpPr>
        <p:spPr>
          <a:xfrm>
            <a:off x="714375" y="5714175"/>
            <a:ext cx="16859250" cy="64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dvisors</a:t>
            </a:r>
            <a:endParaRPr lang="en-US" sz="2000" b="1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BDC418F-6292-0CCB-E1AB-1889979BDBB5}"/>
              </a:ext>
            </a:extLst>
          </p:cNvPr>
          <p:cNvSpPr/>
          <p:nvPr/>
        </p:nvSpPr>
        <p:spPr>
          <a:xfrm>
            <a:off x="1817865" y="4395021"/>
            <a:ext cx="3169682" cy="10160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b="1" dirty="0">
                <a:solidFill>
                  <a:schemeClr val="tx1"/>
                </a:solidFill>
              </a:rPr>
              <a:t>Nam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dirty="0">
                <a:solidFill>
                  <a:schemeClr val="tx1"/>
                </a:solidFill>
              </a:rPr>
              <a:t>Designation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E23E6AD-17F8-EC94-2B2A-07C29D2B3A78}"/>
              </a:ext>
            </a:extLst>
          </p:cNvPr>
          <p:cNvSpPr/>
          <p:nvPr/>
        </p:nvSpPr>
        <p:spPr>
          <a:xfrm>
            <a:off x="5615794" y="4395021"/>
            <a:ext cx="3169682" cy="10160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b="1" dirty="0">
                <a:solidFill>
                  <a:schemeClr val="tx1"/>
                </a:solidFill>
              </a:rPr>
              <a:t>Nam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dirty="0">
                <a:solidFill>
                  <a:schemeClr val="tx1"/>
                </a:solidFill>
              </a:rPr>
              <a:t>Designation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2B577FB-2676-C1ED-A090-5616FDA3DC19}"/>
              </a:ext>
            </a:extLst>
          </p:cNvPr>
          <p:cNvSpPr/>
          <p:nvPr/>
        </p:nvSpPr>
        <p:spPr>
          <a:xfrm>
            <a:off x="9413723" y="4395021"/>
            <a:ext cx="3169682" cy="10160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b="1" dirty="0">
                <a:solidFill>
                  <a:schemeClr val="tx1"/>
                </a:solidFill>
              </a:rPr>
              <a:t>Nam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dirty="0">
                <a:solidFill>
                  <a:schemeClr val="tx1"/>
                </a:solidFill>
              </a:rPr>
              <a:t>Designation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027" name="Rectangle 1026">
            <a:extLst>
              <a:ext uri="{FF2B5EF4-FFF2-40B4-BE49-F238E27FC236}">
                <a16:creationId xmlns:a16="http://schemas.microsoft.com/office/drawing/2014/main" id="{E2628896-AE16-62D8-20BF-8E796088C5F8}"/>
              </a:ext>
            </a:extLst>
          </p:cNvPr>
          <p:cNvSpPr/>
          <p:nvPr/>
        </p:nvSpPr>
        <p:spPr>
          <a:xfrm>
            <a:off x="13211651" y="4395021"/>
            <a:ext cx="3169682" cy="10160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b="1" dirty="0">
                <a:solidFill>
                  <a:schemeClr val="tx1"/>
                </a:solidFill>
              </a:rPr>
              <a:t>Nam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dirty="0">
                <a:solidFill>
                  <a:schemeClr val="tx1"/>
                </a:solidFill>
              </a:rPr>
              <a:t>Designation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042" name="Rectangle 1041">
            <a:extLst>
              <a:ext uri="{FF2B5EF4-FFF2-40B4-BE49-F238E27FC236}">
                <a16:creationId xmlns:a16="http://schemas.microsoft.com/office/drawing/2014/main" id="{215086A3-52D1-4374-B247-704652351BB0}"/>
              </a:ext>
            </a:extLst>
          </p:cNvPr>
          <p:cNvSpPr/>
          <p:nvPr/>
        </p:nvSpPr>
        <p:spPr>
          <a:xfrm>
            <a:off x="1817865" y="8216896"/>
            <a:ext cx="3169682" cy="10160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b="1" dirty="0">
                <a:solidFill>
                  <a:schemeClr val="tx1"/>
                </a:solidFill>
              </a:rPr>
              <a:t>Nam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dirty="0">
                <a:solidFill>
                  <a:schemeClr val="tx1"/>
                </a:solidFill>
              </a:rPr>
              <a:t>Designation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040" name="Rectangle 1039">
            <a:extLst>
              <a:ext uri="{FF2B5EF4-FFF2-40B4-BE49-F238E27FC236}">
                <a16:creationId xmlns:a16="http://schemas.microsoft.com/office/drawing/2014/main" id="{56E7B133-AD01-992D-4F49-09AC60B3DE26}"/>
              </a:ext>
            </a:extLst>
          </p:cNvPr>
          <p:cNvSpPr/>
          <p:nvPr/>
        </p:nvSpPr>
        <p:spPr>
          <a:xfrm>
            <a:off x="5615794" y="8216896"/>
            <a:ext cx="3169682" cy="10160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b="1" dirty="0">
                <a:solidFill>
                  <a:schemeClr val="tx1"/>
                </a:solidFill>
              </a:rPr>
              <a:t>Nam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dirty="0">
                <a:solidFill>
                  <a:schemeClr val="tx1"/>
                </a:solidFill>
              </a:rPr>
              <a:t>Designation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038" name="Rectangle 1037">
            <a:extLst>
              <a:ext uri="{FF2B5EF4-FFF2-40B4-BE49-F238E27FC236}">
                <a16:creationId xmlns:a16="http://schemas.microsoft.com/office/drawing/2014/main" id="{E8A6CBB1-3B0A-D2E4-7FD1-CAA3D01AB7BA}"/>
              </a:ext>
            </a:extLst>
          </p:cNvPr>
          <p:cNvSpPr/>
          <p:nvPr/>
        </p:nvSpPr>
        <p:spPr>
          <a:xfrm>
            <a:off x="9413723" y="8216896"/>
            <a:ext cx="3169682" cy="10160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b="1" dirty="0">
                <a:solidFill>
                  <a:schemeClr val="tx1"/>
                </a:solidFill>
              </a:rPr>
              <a:t>Nam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dirty="0">
                <a:solidFill>
                  <a:schemeClr val="tx1"/>
                </a:solidFill>
              </a:rPr>
              <a:t>Designation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036" name="Rectangle 1035">
            <a:extLst>
              <a:ext uri="{FF2B5EF4-FFF2-40B4-BE49-F238E27FC236}">
                <a16:creationId xmlns:a16="http://schemas.microsoft.com/office/drawing/2014/main" id="{F8327C3C-135A-548C-5A58-9FEB45C91D3F}"/>
              </a:ext>
            </a:extLst>
          </p:cNvPr>
          <p:cNvSpPr/>
          <p:nvPr/>
        </p:nvSpPr>
        <p:spPr>
          <a:xfrm>
            <a:off x="13211651" y="8216896"/>
            <a:ext cx="3169682" cy="10160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b="1" dirty="0">
                <a:solidFill>
                  <a:schemeClr val="tx1"/>
                </a:solidFill>
              </a:rPr>
              <a:t>Nam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000" dirty="0">
                <a:solidFill>
                  <a:schemeClr val="tx1"/>
                </a:solidFill>
              </a:rPr>
              <a:t>Designation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2A62582-CE4D-2DA2-E70D-6CC285FE9F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729A694-414B-75BB-938B-94D3F53749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999" t="5198" r="10001" b="30801"/>
          <a:stretch>
            <a:fillRect/>
          </a:stretch>
        </p:blipFill>
        <p:spPr>
          <a:xfrm>
            <a:off x="2919212" y="3065995"/>
            <a:ext cx="966988" cy="966988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2F9FA39B-EF4E-1A83-BA77-48740F870D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999" t="5198" r="10001" b="30801"/>
          <a:stretch>
            <a:fillRect/>
          </a:stretch>
        </p:blipFill>
        <p:spPr>
          <a:xfrm>
            <a:off x="6717141" y="3065995"/>
            <a:ext cx="966988" cy="966988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83A3BCB8-68FA-0420-E10E-C7C91D0084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999" t="5198" r="10001" b="30801"/>
          <a:stretch>
            <a:fillRect/>
          </a:stretch>
        </p:blipFill>
        <p:spPr>
          <a:xfrm>
            <a:off x="10515070" y="3065995"/>
            <a:ext cx="966988" cy="966988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B0D29678-6131-4093-2CA7-A20ADD5341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999" t="5198" r="10001" b="30801"/>
          <a:stretch>
            <a:fillRect/>
          </a:stretch>
        </p:blipFill>
        <p:spPr>
          <a:xfrm>
            <a:off x="14312998" y="3065995"/>
            <a:ext cx="966988" cy="966988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BD50EBBE-2464-1CD9-8EEB-DF5927760A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999" t="5198" r="10001" b="30801"/>
          <a:stretch>
            <a:fillRect/>
          </a:stretch>
        </p:blipFill>
        <p:spPr>
          <a:xfrm>
            <a:off x="2919212" y="6843512"/>
            <a:ext cx="966988" cy="966988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85113463-327B-5474-DD45-53D538B1BC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999" t="5198" r="10001" b="30801"/>
          <a:stretch>
            <a:fillRect/>
          </a:stretch>
        </p:blipFill>
        <p:spPr>
          <a:xfrm>
            <a:off x="6717141" y="6843512"/>
            <a:ext cx="966988" cy="966988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818BF15C-A84A-8AC5-F7E6-F55294E430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999" t="5198" r="10001" b="30801"/>
          <a:stretch>
            <a:fillRect/>
          </a:stretch>
        </p:blipFill>
        <p:spPr>
          <a:xfrm>
            <a:off x="10515070" y="6843512"/>
            <a:ext cx="966988" cy="966988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F5E1376E-4131-C1D3-B9C1-740CE0DE5A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999" t="5198" r="10001" b="30801"/>
          <a:stretch>
            <a:fillRect/>
          </a:stretch>
        </p:blipFill>
        <p:spPr>
          <a:xfrm>
            <a:off x="14312998" y="6843512"/>
            <a:ext cx="966988" cy="966988"/>
          </a:xfrm>
          <a:prstGeom prst="rect">
            <a:avLst/>
          </a:prstGeom>
        </p:spPr>
      </p:pic>
      <p:sp>
        <p:nvSpPr>
          <p:cNvPr id="23" name="Oval 22">
            <a:extLst>
              <a:ext uri="{FF2B5EF4-FFF2-40B4-BE49-F238E27FC236}">
                <a16:creationId xmlns:a16="http://schemas.microsoft.com/office/drawing/2014/main" id="{2DA48B9F-5F76-9AEC-3978-B1D98668271D}"/>
              </a:ext>
            </a:extLst>
          </p:cNvPr>
          <p:cNvSpPr/>
          <p:nvPr/>
        </p:nvSpPr>
        <p:spPr>
          <a:xfrm>
            <a:off x="2630550" y="2843450"/>
            <a:ext cx="1544400" cy="1544400"/>
          </a:xfrm>
          <a:prstGeom prst="ellipse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3501CEA6-B20E-3EC3-FE7C-97640DB1E7D1}"/>
              </a:ext>
            </a:extLst>
          </p:cNvPr>
          <p:cNvSpPr/>
          <p:nvPr/>
        </p:nvSpPr>
        <p:spPr>
          <a:xfrm>
            <a:off x="6428479" y="2843450"/>
            <a:ext cx="1544400" cy="1544400"/>
          </a:xfrm>
          <a:prstGeom prst="ellipse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7F5ED21-C6BF-589D-B689-8E6A776C41A5}"/>
              </a:ext>
            </a:extLst>
          </p:cNvPr>
          <p:cNvSpPr/>
          <p:nvPr/>
        </p:nvSpPr>
        <p:spPr>
          <a:xfrm>
            <a:off x="10226408" y="2843450"/>
            <a:ext cx="1544400" cy="1544400"/>
          </a:xfrm>
          <a:prstGeom prst="ellipse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CF437131-E151-9001-A570-EAA2B04125F9}"/>
              </a:ext>
            </a:extLst>
          </p:cNvPr>
          <p:cNvSpPr/>
          <p:nvPr/>
        </p:nvSpPr>
        <p:spPr>
          <a:xfrm>
            <a:off x="14024336" y="2843450"/>
            <a:ext cx="1544400" cy="1544400"/>
          </a:xfrm>
          <a:prstGeom prst="ellipse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0FD9751-0C1A-EF0C-658B-E0AB0BB8BDC0}"/>
              </a:ext>
            </a:extLst>
          </p:cNvPr>
          <p:cNvSpPr/>
          <p:nvPr/>
        </p:nvSpPr>
        <p:spPr>
          <a:xfrm>
            <a:off x="2630550" y="6665325"/>
            <a:ext cx="1544400" cy="1544400"/>
          </a:xfrm>
          <a:prstGeom prst="ellipse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FA50AB6-B47B-CCB1-CB96-A28919C7A787}"/>
              </a:ext>
            </a:extLst>
          </p:cNvPr>
          <p:cNvSpPr/>
          <p:nvPr/>
        </p:nvSpPr>
        <p:spPr>
          <a:xfrm>
            <a:off x="6428479" y="6665325"/>
            <a:ext cx="1544400" cy="1544400"/>
          </a:xfrm>
          <a:prstGeom prst="ellipse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8469AB2-090D-5892-2D81-AAEEAB8F680C}"/>
              </a:ext>
            </a:extLst>
          </p:cNvPr>
          <p:cNvSpPr/>
          <p:nvPr/>
        </p:nvSpPr>
        <p:spPr>
          <a:xfrm>
            <a:off x="10226408" y="6665325"/>
            <a:ext cx="1544400" cy="1544400"/>
          </a:xfrm>
          <a:prstGeom prst="ellipse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57C1774A-59F3-3465-36E5-81BEC36F4131}"/>
              </a:ext>
            </a:extLst>
          </p:cNvPr>
          <p:cNvSpPr/>
          <p:nvPr/>
        </p:nvSpPr>
        <p:spPr>
          <a:xfrm>
            <a:off x="14024336" y="6665325"/>
            <a:ext cx="1544400" cy="1544400"/>
          </a:xfrm>
          <a:prstGeom prst="ellipse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15165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89</TotalTime>
  <Words>21</Words>
  <Application>Microsoft Office PowerPoint</Application>
  <PresentationFormat>Custom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Team Slid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274</cp:revision>
  <dcterms:created xsi:type="dcterms:W3CDTF">2006-08-16T00:00:00Z</dcterms:created>
  <dcterms:modified xsi:type="dcterms:W3CDTF">2025-10-06T08:52:27Z</dcterms:modified>
  <cp:category/>
  <dc:identifier>DAGkDf5R9EM</dc:identifier>
</cp:coreProperties>
</file>